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16"/>
  </p:notesMasterIdLst>
  <p:handoutMasterIdLst>
    <p:handoutMasterId r:id="rId17"/>
  </p:handoutMasterIdLst>
  <p:sldIdLst>
    <p:sldId id="258" r:id="rId8"/>
    <p:sldId id="339" r:id="rId9"/>
    <p:sldId id="259" r:id="rId10"/>
    <p:sldId id="816" r:id="rId11"/>
    <p:sldId id="810" r:id="rId12"/>
    <p:sldId id="809" r:id="rId13"/>
    <p:sldId id="511" r:id="rId14"/>
    <p:sldId id="418" r:id="rId15"/>
  </p:sldIdLst>
  <p:sldSz cx="9215438" cy="5184775"/>
  <p:notesSz cx="6805613" cy="9939338"/>
  <p:custDataLst>
    <p:tags r:id="rId18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0"/>
            <p14:sldId id="809"/>
            <p14:sldId id="511"/>
            <p14:sldId id="418"/>
          </p14:sldIdLst>
        </p14:section>
        <p14:section name="REFERENCES" id="{88508D9C-F6AC-F84F-9A5F-4800ADA716FF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71" d="100"/>
          <a:sy n="71" d="100"/>
        </p:scale>
        <p:origin x="1416" y="36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0" Type="http://schemas.openxmlformats.org/officeDocument/2006/relationships/slideLayout" Target="../slideLayouts/slideLayout196.xml"/><Relationship Id="rId41" Type="http://schemas.openxmlformats.org/officeDocument/2006/relationships/slideLayout" Target="../slideLayouts/slideLayout2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286.xml"/><Relationship Id="rId41" Type="http://schemas.openxmlformats.org/officeDocument/2006/relationships/slideLayout" Target="../slideLayouts/slideLayout3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Equipo 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Automatización en el proceso de sincronzación de sensores “</a:t>
            </a:r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Nuestro</a:t>
            </a:r>
            <a:r>
              <a:rPr lang="en-GB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n-GB" sz="40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equipo</a:t>
            </a:r>
            <a:endParaRPr lang="en-GB" sz="4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9599" y="4131176"/>
            <a:ext cx="908418" cy="576263"/>
          </a:xfrm>
        </p:spPr>
        <p:txBody>
          <a:bodyPr/>
          <a:lstStyle/>
          <a:p>
            <a:r>
              <a:rPr lang="en-GB" sz="2000" dirty="0" err="1"/>
              <a:t>AdriA</a:t>
            </a:r>
            <a:endParaRPr lang="en-GB" sz="20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9726" y="4131176"/>
            <a:ext cx="1078912" cy="576263"/>
          </a:xfrm>
        </p:spPr>
        <p:txBody>
          <a:bodyPr/>
          <a:lstStyle/>
          <a:p>
            <a:r>
              <a:rPr lang="en-GB" sz="2000" dirty="0" err="1"/>
              <a:t>javier</a:t>
            </a:r>
            <a:endParaRPr lang="en-GB" sz="2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032200" y="4121900"/>
            <a:ext cx="1078911" cy="576263"/>
          </a:xfrm>
        </p:spPr>
        <p:txBody>
          <a:bodyPr/>
          <a:lstStyle/>
          <a:p>
            <a:r>
              <a:rPr lang="en-GB" sz="2000" dirty="0"/>
              <a:t>Marti</a:t>
            </a:r>
          </a:p>
        </p:txBody>
      </p:sp>
      <p:pic>
        <p:nvPicPr>
          <p:cNvPr id="17" name="Marcador de posición de imagen 16">
            <a:extLst>
              <a:ext uri="{FF2B5EF4-FFF2-40B4-BE49-F238E27FC236}">
                <a16:creationId xmlns:a16="http://schemas.microsoft.com/office/drawing/2014/main" id="{D624550F-19ED-40C0-B552-E15D0A0D1FD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12719" r="12719"/>
          <a:stretch>
            <a:fillRect/>
          </a:stretch>
        </p:blipFill>
        <p:spPr>
          <a:xfrm>
            <a:off x="233363" y="966418"/>
            <a:ext cx="1770062" cy="3168650"/>
          </a:xfrm>
          <a:prstGeom prst="rect">
            <a:avLst/>
          </a:prstGeom>
        </p:spPr>
      </p:pic>
      <p:pic>
        <p:nvPicPr>
          <p:cNvPr id="4" name="Marcador de posición de imagen 3">
            <a:extLst>
              <a:ext uri="{FF2B5EF4-FFF2-40B4-BE49-F238E27FC236}">
                <a16:creationId xmlns:a16="http://schemas.microsoft.com/office/drawing/2014/main" id="{E46776F5-5883-4EB1-8917-52D49625BC29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/>
          <a:srcRect l="12759" r="12759"/>
          <a:stretch>
            <a:fillRect/>
          </a:stretch>
        </p:blipFill>
        <p:spPr>
          <a:xfrm>
            <a:off x="2359025" y="958013"/>
            <a:ext cx="1770063" cy="3168650"/>
          </a:xfrm>
          <a:prstGeom prst="rect">
            <a:avLst/>
          </a:prstGeom>
        </p:spPr>
      </p:pic>
      <p:pic>
        <p:nvPicPr>
          <p:cNvPr id="16" name="Marcador de posición de imagen 15">
            <a:extLst>
              <a:ext uri="{FF2B5EF4-FFF2-40B4-BE49-F238E27FC236}">
                <a16:creationId xmlns:a16="http://schemas.microsoft.com/office/drawing/2014/main" id="{BB593447-9FBF-478C-8A2A-A336FFFA4364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4"/>
          <a:srcRect l="8517" r="8517"/>
          <a:stretch>
            <a:fillRect/>
          </a:stretch>
        </p:blipFill>
        <p:spPr>
          <a:xfrm>
            <a:off x="4464050" y="958013"/>
            <a:ext cx="1971675" cy="316865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FCCFF6C-2D63-46B1-99E2-3C170601EC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1248" y="958124"/>
            <a:ext cx="1969179" cy="3164098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D2BC3AE-6FC0-4EC1-9666-CAAF2E8D6799}"/>
              </a:ext>
            </a:extLst>
          </p:cNvPr>
          <p:cNvSpPr txBox="1">
            <a:spLocks/>
          </p:cNvSpPr>
          <p:nvPr/>
        </p:nvSpPr>
        <p:spPr bwMode="gray">
          <a:xfrm>
            <a:off x="7336743" y="4117819"/>
            <a:ext cx="1078911" cy="576263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hausDIN" panose="020B0504020101020102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neue PRO" pitchFamily="34" charset="0"/>
              <a:buNone/>
              <a:tabLst>
                <a:tab pos="990230" algn="l"/>
              </a:tabLst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n-GB" sz="2000" dirty="0"/>
              <a:t>Carlos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1EA454B4-A1F8-4513-BAAB-DE8992EE67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1248" y="868474"/>
            <a:ext cx="2298649" cy="315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2016314" y="2016313"/>
            <a:ext cx="4895701" cy="2592200"/>
          </a:xfrm>
        </p:spPr>
        <p:txBody>
          <a:bodyPr/>
          <a:lstStyle/>
          <a:p>
            <a:r>
              <a:rPr lang="en-US" sz="2000" b="1" dirty="0" err="1">
                <a:latin typeface="adineue PRO TT" panose="020B0503020201060004" pitchFamily="34" charset="77"/>
              </a:rPr>
              <a:t>Tecnologias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>
                <a:latin typeface="adineue PRO TT" panose="020B0503020201060004" pitchFamily="34" charset="77"/>
              </a:rPr>
              <a:t>De la idea a la implementación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:a16="http://schemas.microsoft.com/office/drawing/2014/main" id="{1BEFD2FC-CFCA-4644-B0DA-3366229547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8107" y="2842260"/>
            <a:ext cx="3200400" cy="17506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CNOLOGÍ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Python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Análisi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de las </a:t>
            </a: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señale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</a:t>
            </a: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digitale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.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Adidas sensor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Equipo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4413FAD-6202-4D14-9D13-1EE9BC51B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9791" y="1236905"/>
            <a:ext cx="1173638" cy="11736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699CC8D-5ACB-46FB-BEAB-21CEC3F4A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7132" y="3267074"/>
            <a:ext cx="2161418" cy="121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FFB61B6D-A0C9-4F24-A727-719D228F0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2288" y="1241304"/>
            <a:ext cx="5990749" cy="34213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04" y="432595"/>
            <a:ext cx="7775179" cy="575468"/>
          </a:xfrm>
        </p:spPr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 la idea a la </a:t>
            </a:r>
            <a:r>
              <a:rPr lang="es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mplementació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r>
              <a:rPr lang="en-US" sz="2000" dirty="0"/>
              <a:t>-</a:t>
            </a:r>
            <a:r>
              <a:rPr lang="en-US" sz="2000" dirty="0" err="1"/>
              <a:t>Necesidad</a:t>
            </a:r>
            <a:r>
              <a:rPr lang="en-US" sz="2000" dirty="0"/>
              <a:t> del </a:t>
            </a:r>
            <a:r>
              <a:rPr lang="en-US" sz="2000" dirty="0" err="1"/>
              <a:t>producto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-</a:t>
            </a:r>
            <a:r>
              <a:rPr lang="en-US" sz="2000" dirty="0" err="1"/>
              <a:t>Diseño</a:t>
            </a:r>
            <a:r>
              <a:rPr lang="en-US" sz="2000" dirty="0"/>
              <a:t> de la </a:t>
            </a:r>
            <a:r>
              <a:rPr lang="en-US" sz="2000" dirty="0" err="1"/>
              <a:t>solución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-</a:t>
            </a:r>
            <a:r>
              <a:rPr lang="en-US" sz="2000" dirty="0" err="1"/>
              <a:t>Resulatdos</a:t>
            </a:r>
            <a:r>
              <a:rPr lang="en-US" sz="2000" dirty="0"/>
              <a:t> </a:t>
            </a:r>
            <a:r>
              <a:rPr lang="en-US" sz="2000" dirty="0" err="1"/>
              <a:t>verificados</a:t>
            </a:r>
            <a:endParaRPr lang="en-US" sz="20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Muchas gracias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863</TotalTime>
  <Words>89</Words>
  <Application>Microsoft Office PowerPoint</Application>
  <PresentationFormat>Personalizado</PresentationFormat>
  <Paragraphs>41</Paragraphs>
  <Slides>8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30" baseType="lpstr">
      <vt:lpstr>AdihausDI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Equipo A</vt:lpstr>
      <vt:lpstr>Nuestro equipo</vt:lpstr>
      <vt:lpstr>AGENDA</vt:lpstr>
      <vt:lpstr>TECNOLOGÍAS</vt:lpstr>
      <vt:lpstr>DE la idea a la implementación</vt:lpstr>
      <vt:lpstr>DEMO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Carlos anonimo</cp:lastModifiedBy>
  <cp:revision>155</cp:revision>
  <cp:lastPrinted>2015-05-04T06:43:15Z</cp:lastPrinted>
  <dcterms:created xsi:type="dcterms:W3CDTF">2019-03-09T19:27:14Z</dcterms:created>
  <dcterms:modified xsi:type="dcterms:W3CDTF">2019-03-24T07:19:43Z</dcterms:modified>
  <dc:language>English-UK</dc:language>
</cp:coreProperties>
</file>